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422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6406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July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4596992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n-US" altLang="fr-FR" dirty="0"/>
              <a:t>Drive your equipment maintenance at any time 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5466"/>
            <a:ext cx="7997825" cy="307975"/>
          </a:xfrm>
        </p:spPr>
        <p:txBody>
          <a:bodyPr/>
          <a:lstStyle/>
          <a:p>
            <a:r>
              <a:rPr lang="en-US" dirty="0"/>
              <a:t>Maintenance Tool Kit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8924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Maintenance</a:t>
            </a:r>
          </a:p>
          <a:p>
            <a:r>
              <a:rPr lang="en-US" sz="800" kern="0" dirty="0"/>
              <a:t>Equipment: Pal/</a:t>
            </a:r>
            <a:r>
              <a:rPr lang="en-US" sz="800" kern="0" dirty="0" err="1"/>
              <a:t>Depal</a:t>
            </a:r>
            <a:r>
              <a:rPr lang="en-US" sz="800" kern="0" dirty="0"/>
              <a:t> (</a:t>
            </a:r>
            <a:r>
              <a:rPr lang="en-US" sz="800" kern="0" dirty="0" err="1"/>
              <a:t>Pr</a:t>
            </a:r>
            <a:r>
              <a:rPr lang="en-US" sz="800" kern="0" dirty="0"/>
              <a:t>) </a:t>
            </a:r>
          </a:p>
          <a:p>
            <a:r>
              <a:rPr lang="en-US" sz="800" kern="0" dirty="0"/>
              <a:t>Catalogue code: EOL-028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100" dirty="0"/>
              <a:t>Precise information on device adjustment (belt tensioning, levelling, tightening of bolts)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100" dirty="0"/>
              <a:t>Devices driven maintenance accompanied by document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100" dirty="0"/>
              <a:t>Precautionary efficiency before worn parts can generate damage or breakdowns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100" dirty="0"/>
              <a:t>Availability of the right tool for each measure permit the exact control of the parts statu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59383"/>
            <a:ext cx="3889375" cy="1675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/>
              <a:t>Complete set dedicated with customized SOP &amp; CILT.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/>
              <a:t>More than 20 tools, including: Tension Meter; Laser Alignment Aid; Kit 6-32 mm of mechanical keys; SE 6" SAE and Metric; Electric Digital </a:t>
            </a:r>
            <a:r>
              <a:rPr lang="en-GB" sz="1100" dirty="0" err="1"/>
              <a:t>Caliber</a:t>
            </a:r>
            <a:r>
              <a:rPr lang="en-GB" sz="1100" dirty="0"/>
              <a:t>; Fix or adjustable size </a:t>
            </a:r>
            <a:r>
              <a:rPr lang="en-GB" sz="1100" dirty="0" err="1"/>
              <a:t>Caliber</a:t>
            </a:r>
            <a:r>
              <a:rPr lang="en-GB" sz="1100" dirty="0"/>
              <a:t>;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/>
              <a:t>Dedicated instruction manual with the precise adjustment instruction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ailable for all equipment installed from 2014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6BBC0F-0508-46AD-AB5E-3D988FC111DA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820" y="4297948"/>
            <a:ext cx="1272312" cy="144295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EEDB2B8-076A-400A-B7F5-29C04EFC546D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178" y="4297948"/>
            <a:ext cx="1434301" cy="141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</TotalTime>
  <Words>140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Drive your equipment maintenance at any time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87</cp:revision>
  <cp:lastPrinted>2017-09-01T14:01:41Z</cp:lastPrinted>
  <dcterms:created xsi:type="dcterms:W3CDTF">2017-07-10T14:51:51Z</dcterms:created>
  <dcterms:modified xsi:type="dcterms:W3CDTF">2020-07-20T14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andrea.pedretti@gebocermex.com</vt:lpwstr>
  </property>
  <property fmtid="{D5CDD505-2E9C-101B-9397-08002B2CF9AE}" pid="7" name="MSIP_Label_94480757-a570-4f64-84e7-c5b3ffe9d573_SetDate">
    <vt:lpwstr>2019-05-17T14:37:14.837574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1f25b6fc-49ab-4edd-ab0d-a19355d82709_Enabled">
    <vt:lpwstr>True</vt:lpwstr>
  </property>
  <property fmtid="{D5CDD505-2E9C-101B-9397-08002B2CF9AE}" pid="12" name="MSIP_Label_1f25b6fc-49ab-4edd-ab0d-a19355d82709_SiteId">
    <vt:lpwstr>2390cbd1-e663-4321-bc93-ba298637ce52</vt:lpwstr>
  </property>
  <property fmtid="{D5CDD505-2E9C-101B-9397-08002B2CF9AE}" pid="13" name="MSIP_Label_1f25b6fc-49ab-4edd-ab0d-a19355d82709_Owner">
    <vt:lpwstr>andrea.pedretti@gebocermex.com</vt:lpwstr>
  </property>
  <property fmtid="{D5CDD505-2E9C-101B-9397-08002B2CF9AE}" pid="14" name="MSIP_Label_1f25b6fc-49ab-4edd-ab0d-a19355d82709_SetDate">
    <vt:lpwstr>2018-12-20T11:02:58.8854259+01:00</vt:lpwstr>
  </property>
  <property fmtid="{D5CDD505-2E9C-101B-9397-08002B2CF9AE}" pid="15" name="MSIP_Label_1f25b6fc-49ab-4edd-ab0d-a19355d82709_Name">
    <vt:lpwstr>Sidel-Public</vt:lpwstr>
  </property>
  <property fmtid="{D5CDD505-2E9C-101B-9397-08002B2CF9AE}" pid="16" name="MSIP_Label_1f25b6fc-49ab-4edd-ab0d-a19355d82709_Application">
    <vt:lpwstr>Microsoft Azure Information Protection</vt:lpwstr>
  </property>
  <property fmtid="{D5CDD505-2E9C-101B-9397-08002B2CF9AE}" pid="17" name="MSIP_Label_1f25b6fc-49ab-4edd-ab0d-a19355d82709_Extended_MSFT_Method">
    <vt:lpwstr>Manual</vt:lpwstr>
  </property>
  <property fmtid="{D5CDD505-2E9C-101B-9397-08002B2CF9AE}" pid="18" name="Sensitivity">
    <vt:lpwstr>General Sidel-Public</vt:lpwstr>
  </property>
</Properties>
</file>